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Default Extension="gif" ContentType="image/gif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8"/>
  </p:notesMasterIdLst>
  <p:handoutMasterIdLst>
    <p:handoutMasterId r:id="rId9"/>
  </p:handoutMasterIdLst>
  <p:sldIdLst>
    <p:sldId id="311" r:id="rId2"/>
    <p:sldId id="359" r:id="rId3"/>
    <p:sldId id="360" r:id="rId4"/>
    <p:sldId id="361" r:id="rId5"/>
    <p:sldId id="362" r:id="rId6"/>
    <p:sldId id="363" r:id="rId7"/>
  </p:sldIdLst>
  <p:sldSz cx="9906000" cy="6858000" type="A4"/>
  <p:notesSz cx="6896100" cy="10033000"/>
  <p:custShowLst>
    <p:custShow name="Custom Show 1" id="0">
      <p:sldLst>
        <p:sld r:id="rId2"/>
      </p:sldLst>
    </p:custShow>
  </p:custShowLst>
  <p:custDataLst>
    <p:tags r:id="rId1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82246" autoAdjust="0"/>
  </p:normalViewPr>
  <p:slideViewPr>
    <p:cSldViewPr>
      <p:cViewPr>
        <p:scale>
          <a:sx n="100" d="100"/>
          <a:sy n="100" d="100"/>
        </p:scale>
        <p:origin x="-1956" y="-7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30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5676509-7C6A-495B-9013-E029E7C26F6E}" type="slidenum">
              <a:rPr lang="pl-PL"/>
              <a:pPr/>
              <a:t>2</a:t>
            </a:fld>
            <a:endParaRPr lang="pl-PL"/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95D830-6E4D-4BBA-9981-E16041FDEED7}" type="slidenum">
              <a:rPr lang="pl-PL"/>
              <a:pPr/>
              <a:t>4</a:t>
            </a:fld>
            <a:endParaRPr lang="pl-PL"/>
          </a:p>
        </p:txBody>
      </p:sp>
      <p:sp>
        <p:nvSpPr>
          <p:cNvPr id="12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40D029-491B-45A8-A582-D339BFE142DE}" type="slidenum">
              <a:rPr lang="pl-PL"/>
              <a:pPr/>
              <a:t>5</a:t>
            </a:fld>
            <a:endParaRPr lang="pl-PL"/>
          </a:p>
        </p:txBody>
      </p:sp>
      <p:sp>
        <p:nvSpPr>
          <p:cNvPr id="14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5BB84AC-640A-4F9E-B863-30DD8067AFE1}" type="slidenum">
              <a:rPr lang="pl-PL"/>
              <a:pPr/>
              <a:t>6</a:t>
            </a:fld>
            <a:endParaRPr lang="pl-PL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ytuł, tekst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Creative Commons 4.0 license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whatisrobocap.pptx</a:t>
            </a: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125034" cy="123111"/>
          </a:xfrm>
        </p:spPr>
        <p:txBody>
          <a:bodyPr/>
          <a:lstStyle>
            <a:lvl1pPr>
              <a:defRPr/>
            </a:lvl1pPr>
          </a:lstStyle>
          <a:p>
            <a:fld id="{31A671F7-EED2-48A2-B26F-F53EA8632568}" type="slidenum">
              <a:rPr lang="pl-PL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Creative Commons 4.0 license</a:t>
            </a:r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whatisrobocap.pptx</a:t>
            </a: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464A96-7A4B-4965-BC79-2218D08A098D}" type="slidenum">
              <a:rPr lang="pl-PL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5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whatisrobocap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  <p:sldLayoutId id="2147483972" r:id="rId8"/>
    <p:sldLayoutId id="2147483973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10" Type="http://schemas.openxmlformats.org/officeDocument/2006/relationships/image" Target="../media/image21.jpeg"/><Relationship Id="rId4" Type="http://schemas.openxmlformats.org/officeDocument/2006/relationships/image" Target="../media/image15.png"/><Relationship Id="rId9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368780" y="3284980"/>
            <a:ext cx="6537220" cy="1872260"/>
          </a:xfrm>
        </p:spPr>
        <p:txBody>
          <a:bodyPr/>
          <a:lstStyle/>
          <a:p>
            <a:r>
              <a:rPr lang="de-DE" sz="6000" b="1" dirty="0" smtClean="0"/>
              <a:t>Z </a:t>
            </a:r>
            <a:r>
              <a:rPr lang="de-DE" sz="6000" b="1" dirty="0" err="1" smtClean="0"/>
              <a:t>czym</a:t>
            </a:r>
            <a:r>
              <a:rPr lang="de-DE" sz="6000" b="1" dirty="0" smtClean="0"/>
              <a:t> </a:t>
            </a:r>
            <a:r>
              <a:rPr lang="de-DE" sz="6000" b="1" dirty="0" err="1" smtClean="0"/>
              <a:t>to</a:t>
            </a:r>
            <a:r>
              <a:rPr lang="de-DE" sz="6000" b="1" dirty="0" smtClean="0"/>
              <a:t> </a:t>
            </a:r>
            <a:r>
              <a:rPr lang="de-DE" sz="6000" b="1" dirty="0" err="1" smtClean="0"/>
              <a:t>się</a:t>
            </a:r>
            <a:r>
              <a:rPr lang="de-DE" sz="6000" b="1" dirty="0" smtClean="0"/>
              <a:t> je?</a:t>
            </a:r>
            <a:endParaRPr lang="en-US" sz="6000" b="1" dirty="0"/>
          </a:p>
        </p:txBody>
      </p:sp>
      <p:pic>
        <p:nvPicPr>
          <p:cNvPr id="75780" name="Picture 4" descr="C:\_work\CSR\RoboCAP\Logo\robocap-logo-medium-size-no-background.gi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4924" y="2492870"/>
            <a:ext cx="3153856" cy="332206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>
          <a:xfrm>
            <a:off x="380968" y="71414"/>
            <a:ext cx="8915400" cy="1143000"/>
          </a:xfrm>
        </p:spPr>
        <p:txBody>
          <a:bodyPr/>
          <a:lstStyle/>
          <a:p>
            <a:r>
              <a:rPr lang="de-DE" dirty="0" err="1" smtClean="0"/>
              <a:t>Założenia</a:t>
            </a:r>
            <a:endParaRPr lang="pl-PL" dirty="0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992450" y="1772770"/>
            <a:ext cx="8281150" cy="792110"/>
          </a:xfrm>
        </p:spPr>
        <p:txBody>
          <a:bodyPr>
            <a:noAutofit/>
          </a:bodyPr>
          <a:lstStyle/>
          <a:p>
            <a:pPr algn="ctr"/>
            <a:r>
              <a:rPr lang="de-DE" sz="3200" b="1" dirty="0" err="1" smtClean="0">
                <a:solidFill>
                  <a:schemeClr val="accent5">
                    <a:lumMod val="75000"/>
                  </a:schemeClr>
                </a:solidFill>
              </a:rPr>
              <a:t>Nauka</a:t>
            </a:r>
            <a:r>
              <a:rPr lang="de-DE" sz="3200" b="1" dirty="0" smtClean="0">
                <a:solidFill>
                  <a:schemeClr val="accent5">
                    <a:lumMod val="75000"/>
                  </a:schemeClr>
                </a:solidFill>
              </a:rPr>
              <a:t>                </a:t>
            </a:r>
            <a:r>
              <a:rPr lang="de-DE" sz="3200" b="1" dirty="0" err="1" smtClean="0">
                <a:solidFill>
                  <a:schemeClr val="accent5">
                    <a:lumMod val="75000"/>
                  </a:schemeClr>
                </a:solidFill>
              </a:rPr>
              <a:t>poprzez</a:t>
            </a:r>
            <a:r>
              <a:rPr lang="de-DE" sz="3200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de-DE" sz="3200" b="1" dirty="0" err="1" smtClean="0">
                <a:solidFill>
                  <a:schemeClr val="accent5">
                    <a:lumMod val="75000"/>
                  </a:schemeClr>
                </a:solidFill>
              </a:rPr>
              <a:t>zabawę</a:t>
            </a:r>
            <a:endParaRPr lang="pl-PL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rot="20505336">
            <a:off x="2786184" y="1416121"/>
            <a:ext cx="323678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3200" b="1" cap="none" spc="0" dirty="0" err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rogramowania</a:t>
            </a:r>
            <a:endParaRPr lang="en-US" sz="32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 rot="754471">
            <a:off x="3842902" y="1961749"/>
            <a:ext cx="180049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/>
            <a:r>
              <a:rPr lang="en-US" sz="3200" b="1" cap="none" spc="0" dirty="0" err="1" smtClean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robotyki</a:t>
            </a:r>
            <a:endParaRPr lang="en-US" sz="3200" b="1" cap="none" spc="0" dirty="0">
              <a:ln>
                <a:prstDash val="solid"/>
              </a:ln>
              <a:gradFill rotWithShape="1">
                <a:gsLst>
                  <a:gs pos="0">
                    <a:schemeClr val="accent4">
                      <a:tint val="70000"/>
                      <a:satMod val="200000"/>
                    </a:schemeClr>
                  </a:gs>
                  <a:gs pos="40000">
                    <a:schemeClr val="accent4">
                      <a:tint val="90000"/>
                      <a:satMod val="130000"/>
                    </a:schemeClr>
                  </a:gs>
                  <a:gs pos="50000">
                    <a:schemeClr val="accent4">
                      <a:tint val="90000"/>
                      <a:satMod val="130000"/>
                    </a:schemeClr>
                  </a:gs>
                  <a:gs pos="68000">
                    <a:schemeClr val="accent4">
                      <a:tint val="90000"/>
                      <a:satMod val="130000"/>
                    </a:schemeClr>
                  </a:gs>
                  <a:gs pos="100000">
                    <a:schemeClr val="accent4">
                      <a:tint val="70000"/>
                      <a:satMod val="200000"/>
                    </a:schemeClr>
                  </a:gs>
                </a:gsLst>
                <a:lin ang="5400000"/>
              </a:gra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</a:endParaRPr>
          </a:p>
        </p:txBody>
      </p:sp>
      <p:pic>
        <p:nvPicPr>
          <p:cNvPr id="16" name="Picture 15" descr="trybik.g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554115">
            <a:off x="927607" y="5173569"/>
            <a:ext cx="1176980" cy="1191693"/>
          </a:xfrm>
          <a:prstGeom prst="rect">
            <a:avLst/>
          </a:prstGeom>
        </p:spPr>
      </p:pic>
      <p:pic>
        <p:nvPicPr>
          <p:cNvPr id="18" name="Picture 17" descr="trybik.g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9445389">
            <a:off x="1543620" y="2436461"/>
            <a:ext cx="1163742" cy="1178288"/>
          </a:xfrm>
          <a:prstGeom prst="rect">
            <a:avLst/>
          </a:prstGeom>
        </p:spPr>
      </p:pic>
      <p:pic>
        <p:nvPicPr>
          <p:cNvPr id="19" name="Picture 18" descr="trybik.g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1043746">
            <a:off x="1912544" y="3481853"/>
            <a:ext cx="1219126" cy="1234365"/>
          </a:xfrm>
          <a:prstGeom prst="rect">
            <a:avLst/>
          </a:prstGeom>
        </p:spPr>
      </p:pic>
      <p:pic>
        <p:nvPicPr>
          <p:cNvPr id="20" name="Picture 19" descr="trybik.g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9099838">
            <a:off x="711154" y="3883165"/>
            <a:ext cx="1359552" cy="1376546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3368780" y="3861060"/>
            <a:ext cx="4824670" cy="790575"/>
            <a:chOff x="2548095" y="3933070"/>
            <a:chExt cx="4824670" cy="790575"/>
          </a:xfrm>
        </p:grpSpPr>
        <p:sp>
          <p:nvSpPr>
            <p:cNvPr id="17" name="TextBox 16"/>
            <p:cNvSpPr txBox="1"/>
            <p:nvPr/>
          </p:nvSpPr>
          <p:spPr>
            <a:xfrm>
              <a:off x="2548095" y="4221110"/>
              <a:ext cx="4824670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przyjazna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         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atmosfera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09" name="Picture 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520940" y="3933070"/>
              <a:ext cx="781050" cy="790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2" name="Group 31"/>
          <p:cNvGrpSpPr/>
          <p:nvPr/>
        </p:nvGrpSpPr>
        <p:grpSpPr>
          <a:xfrm>
            <a:off x="3296770" y="2996940"/>
            <a:ext cx="5328740" cy="1089529"/>
            <a:chOff x="2936720" y="2996940"/>
            <a:chExt cx="5328740" cy="1089529"/>
          </a:xfrm>
        </p:grpSpPr>
        <p:sp>
          <p:nvSpPr>
            <p:cNvPr id="23" name="TextBox 22"/>
            <p:cNvSpPr txBox="1"/>
            <p:nvPr/>
          </p:nvSpPr>
          <p:spPr>
            <a:xfrm>
              <a:off x="3872850" y="2996940"/>
              <a:ext cx="4392610" cy="10895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profesjonalny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zespół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  <a:p>
              <a:pPr>
                <a:lnSpc>
                  <a:spcPct val="90000"/>
                </a:lnSpc>
              </a:pP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10" name="Picture 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2936720" y="2996940"/>
              <a:ext cx="1038225" cy="952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0" name="Group 29"/>
          <p:cNvGrpSpPr/>
          <p:nvPr/>
        </p:nvGrpSpPr>
        <p:grpSpPr>
          <a:xfrm>
            <a:off x="3465078" y="4788055"/>
            <a:ext cx="5016412" cy="657225"/>
            <a:chOff x="4232900" y="4788055"/>
            <a:chExt cx="5016412" cy="657225"/>
          </a:xfrm>
        </p:grpSpPr>
        <p:sp>
          <p:nvSpPr>
            <p:cNvPr id="21" name="TextBox 20"/>
            <p:cNvSpPr txBox="1"/>
            <p:nvPr/>
          </p:nvSpPr>
          <p:spPr>
            <a:xfrm>
              <a:off x="4232900" y="4941210"/>
              <a:ext cx="5016412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różnorodna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tematyka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11" name="Picture 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448930" y="4788055"/>
              <a:ext cx="704850" cy="657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9" name="Group 28"/>
          <p:cNvGrpSpPr/>
          <p:nvPr/>
        </p:nvGrpSpPr>
        <p:grpSpPr>
          <a:xfrm>
            <a:off x="2360640" y="5560383"/>
            <a:ext cx="5832810" cy="821027"/>
            <a:chOff x="2792700" y="5381383"/>
            <a:chExt cx="5832810" cy="821027"/>
          </a:xfrm>
        </p:grpSpPr>
        <p:sp>
          <p:nvSpPr>
            <p:cNvPr id="22" name="TextBox 21"/>
            <p:cNvSpPr txBox="1"/>
            <p:nvPr/>
          </p:nvSpPr>
          <p:spPr>
            <a:xfrm>
              <a:off x="2792700" y="5445280"/>
              <a:ext cx="583281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zajęcia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są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nieodpłatne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  <a:p>
              <a:pPr>
                <a:lnSpc>
                  <a:spcPct val="90000"/>
                </a:lnSpc>
              </a:pP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12" name="Picture 4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440790" y="5381383"/>
              <a:ext cx="648090" cy="711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434" name="Picture 18" descr="C:\_myStuff\kasuj\hax-makeblock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65210" y="3140960"/>
            <a:ext cx="1944270" cy="1944270"/>
          </a:xfrm>
          <a:prstGeom prst="rect">
            <a:avLst/>
          </a:prstGeom>
          <a:noFill/>
        </p:spPr>
      </p:pic>
      <p:pic>
        <p:nvPicPr>
          <p:cNvPr id="316436" name="Picture 20" descr="C:\_myStuff\kasuj\13957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57070" y="4437140"/>
            <a:ext cx="1920266" cy="1440200"/>
          </a:xfrm>
          <a:prstGeom prst="rect">
            <a:avLst/>
          </a:prstGeom>
          <a:noFill/>
        </p:spPr>
      </p:pic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380968" y="71414"/>
            <a:ext cx="8915400" cy="1143000"/>
          </a:xfrm>
        </p:spPr>
        <p:txBody>
          <a:bodyPr/>
          <a:lstStyle/>
          <a:p>
            <a:r>
              <a:rPr lang="de-DE" dirty="0" smtClean="0"/>
              <a:t>Co i </a:t>
            </a:r>
            <a:r>
              <a:rPr lang="de-DE" dirty="0" err="1" smtClean="0"/>
              <a:t>gdzie</a:t>
            </a:r>
            <a:r>
              <a:rPr lang="de-DE" dirty="0" smtClean="0"/>
              <a:t> </a:t>
            </a:r>
            <a:r>
              <a:rPr lang="de-DE" dirty="0" err="1" smtClean="0"/>
              <a:t>robimy</a:t>
            </a:r>
            <a:endParaRPr lang="pl-PL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28330" y="4048540"/>
            <a:ext cx="7770160" cy="2044830"/>
          </a:xfrm>
        </p:spPr>
        <p:txBody>
          <a:bodyPr/>
          <a:lstStyle/>
          <a:p>
            <a:r>
              <a:rPr lang="de-DE" sz="2400" b="1" dirty="0" err="1" smtClean="0"/>
              <a:t>Szkoła</a:t>
            </a:r>
            <a:endParaRPr lang="de-DE" sz="2400" b="1" dirty="0" smtClean="0"/>
          </a:p>
          <a:p>
            <a:r>
              <a:rPr lang="de-DE" sz="2400" b="1" dirty="0" smtClean="0"/>
              <a:t>	</a:t>
            </a:r>
            <a:r>
              <a:rPr lang="de-DE" sz="2400" b="1" dirty="0" err="1" smtClean="0"/>
              <a:t>Szpital</a:t>
            </a:r>
            <a:endParaRPr lang="de-DE" sz="2400" b="1" dirty="0" smtClean="0"/>
          </a:p>
          <a:p>
            <a:r>
              <a:rPr lang="de-DE" sz="2400" b="1" dirty="0" smtClean="0"/>
              <a:t>		Dom </a:t>
            </a:r>
            <a:r>
              <a:rPr lang="de-DE" sz="2400" b="1" dirty="0" err="1" smtClean="0"/>
              <a:t>Dziecka</a:t>
            </a:r>
            <a:endParaRPr lang="de-DE" sz="2400" b="1" dirty="0" smtClean="0"/>
          </a:p>
          <a:p>
            <a:r>
              <a:rPr lang="de-DE" sz="2400" b="1" dirty="0" smtClean="0"/>
              <a:t>			</a:t>
            </a:r>
            <a:r>
              <a:rPr lang="de-DE" sz="2400" b="1" dirty="0" err="1" smtClean="0"/>
              <a:t>Biblioteka</a:t>
            </a:r>
            <a:endParaRPr lang="de-DE" sz="2400" b="1" dirty="0" smtClean="0"/>
          </a:p>
          <a:p>
            <a:r>
              <a:rPr lang="de-DE" sz="2400" b="1" dirty="0" smtClean="0"/>
              <a:t>				</a:t>
            </a:r>
            <a:r>
              <a:rPr lang="de-DE" sz="2400" b="1" dirty="0" err="1" smtClean="0"/>
              <a:t>Konferencje</a:t>
            </a:r>
            <a:endParaRPr lang="de-DE" sz="2400" b="1" dirty="0" smtClean="0"/>
          </a:p>
          <a:p>
            <a:r>
              <a:rPr lang="de-DE" sz="2400" b="1" dirty="0" smtClean="0"/>
              <a:t>					Cap </a:t>
            </a:r>
          </a:p>
          <a:p>
            <a:r>
              <a:rPr lang="de-DE" sz="2000" dirty="0" smtClean="0"/>
              <a:t>					</a:t>
            </a:r>
            <a:endParaRPr lang="pl-PL" sz="2000" dirty="0"/>
          </a:p>
        </p:txBody>
      </p:sp>
      <p:sp>
        <p:nvSpPr>
          <p:cNvPr id="7" name="Rectangle 6"/>
          <p:cNvSpPr/>
          <p:nvPr/>
        </p:nvSpPr>
        <p:spPr>
          <a:xfrm>
            <a:off x="6681240" y="1700760"/>
            <a:ext cx="1622560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err="1" smtClean="0"/>
              <a:t>RoboGames</a:t>
            </a:r>
            <a:endParaRPr lang="en-US" b="1" dirty="0"/>
          </a:p>
        </p:txBody>
      </p:sp>
      <p:sp>
        <p:nvSpPr>
          <p:cNvPr id="316420" name="AutoShape 4" descr="Logo Scra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22" name="AutoShape 6" descr="Logo Scra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24" name="AutoShape 8" descr="Logo Scra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6425" name="Picture 9" descr="C:\Users\psmyk\Downloads\Scratch_Logo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36970" y="1340710"/>
            <a:ext cx="1656230" cy="1531818"/>
          </a:xfrm>
          <a:prstGeom prst="rect">
            <a:avLst/>
          </a:prstGeom>
          <a:noFill/>
        </p:spPr>
      </p:pic>
      <p:sp>
        <p:nvSpPr>
          <p:cNvPr id="316427" name="AutoShape 11" descr="Znalezione obrazy dla zapytania Sph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29" name="AutoShape 13" descr="https://images-na.ssl-images-amazon.com/images/G/01/vince/boost/detailpages/sphero1._SR600,180_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6430" name="Picture 14" descr="C:\_myStuff\kasuj\sphero1._SR600,180_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4360" y="3212970"/>
            <a:ext cx="2497450" cy="749235"/>
          </a:xfrm>
          <a:prstGeom prst="rect">
            <a:avLst/>
          </a:prstGeom>
          <a:noFill/>
        </p:spPr>
      </p:pic>
      <p:pic>
        <p:nvPicPr>
          <p:cNvPr id="316431" name="Picture 15" descr="C:\_myStuff\kasuj\Mindstorms_Logo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4360" y="1700760"/>
            <a:ext cx="4025715" cy="439864"/>
          </a:xfrm>
          <a:prstGeom prst="rect">
            <a:avLst/>
          </a:prstGeom>
          <a:noFill/>
        </p:spPr>
      </p:pic>
      <p:pic>
        <p:nvPicPr>
          <p:cNvPr id="316432" name="Picture 16" descr="C:\_myStuff\kasuj\lejosLogo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00590" y="2348850"/>
            <a:ext cx="2227080" cy="616730"/>
          </a:xfrm>
          <a:prstGeom prst="rect">
            <a:avLst/>
          </a:prstGeom>
          <a:noFill/>
        </p:spPr>
      </p:pic>
      <p:pic>
        <p:nvPicPr>
          <p:cNvPr id="316433" name="Picture 17" descr="C:\_myStuff\kasuj\720px-Arduino_Logo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905410" y="2492870"/>
            <a:ext cx="1296180" cy="882123"/>
          </a:xfrm>
          <a:prstGeom prst="rect">
            <a:avLst/>
          </a:prstGeom>
          <a:noFill/>
        </p:spPr>
      </p:pic>
      <p:pic>
        <p:nvPicPr>
          <p:cNvPr id="316435" name="Picture 19" descr="C:\_myStuff\kasuj\00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473350" y="4365130"/>
            <a:ext cx="2232310" cy="1595021"/>
          </a:xfrm>
          <a:prstGeom prst="rect">
            <a:avLst/>
          </a:prstGeom>
          <a:noFill/>
        </p:spPr>
      </p:pic>
      <p:pic>
        <p:nvPicPr>
          <p:cNvPr id="316437" name="Picture 21" descr="C:\_myStuff\kasuj\app-inventor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224760" y="3212970"/>
            <a:ext cx="2369884" cy="154266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4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19344" y="1124680"/>
            <a:ext cx="7406166" cy="5198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Współpraca</a:t>
            </a:r>
            <a:r>
              <a:rPr lang="de-DE" dirty="0" smtClean="0"/>
              <a:t/>
            </a:r>
            <a:br>
              <a:rPr lang="de-DE" dirty="0" smtClean="0"/>
            </a:br>
            <a:endParaRPr lang="pl-P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 z </a:t>
            </a:r>
            <a:r>
              <a:rPr lang="de-DE" dirty="0" err="1" smtClean="0"/>
              <a:t>tego</a:t>
            </a:r>
            <a:r>
              <a:rPr lang="de-DE" dirty="0" smtClean="0"/>
              <a:t> </a:t>
            </a:r>
            <a:r>
              <a:rPr lang="de-DE" dirty="0" err="1" smtClean="0"/>
              <a:t>mamy</a:t>
            </a:r>
            <a:r>
              <a:rPr lang="de-DE" dirty="0" smtClean="0"/>
              <a:t>?</a:t>
            </a:r>
            <a:endParaRPr lang="pl-PL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73050" y="1501977"/>
            <a:ext cx="1871560" cy="558833"/>
          </a:xfrm>
        </p:spPr>
        <p:txBody>
          <a:bodyPr/>
          <a:lstStyle/>
          <a:p>
            <a:r>
              <a:rPr lang="de-DE" sz="2000" dirty="0" smtClean="0"/>
              <a:t>Feedback</a:t>
            </a:r>
            <a:endParaRPr lang="pl-PL" sz="2000" dirty="0"/>
          </a:p>
        </p:txBody>
      </p:sp>
      <p:pic>
        <p:nvPicPr>
          <p:cNvPr id="322561" name="Picture 1" descr="C:\_work\CSR\RoboCAP\zdjecia z pierwszej edycji\IMG_025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0340" y="1844780"/>
            <a:ext cx="5935072" cy="3960550"/>
          </a:xfrm>
          <a:prstGeom prst="rect">
            <a:avLst/>
          </a:prstGeom>
          <a:noFill/>
        </p:spPr>
      </p:pic>
      <p:pic>
        <p:nvPicPr>
          <p:cNvPr id="322562" name="Picture 2" descr="C:\_myStuff\kasuj\grupa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93347" y="2924930"/>
            <a:ext cx="5184323" cy="3459392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8802973" y="2564880"/>
            <a:ext cx="8306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2000" dirty="0" smtClean="0">
                <a:latin typeface="Comic Sans MS" pitchFamily="66" charset="0"/>
              </a:rPr>
              <a:t>Team</a:t>
            </a:r>
            <a:endParaRPr lang="en-US" sz="2000" dirty="0" smtClean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380968" y="71414"/>
            <a:ext cx="8915400" cy="1143000"/>
          </a:xfrm>
        </p:spPr>
        <p:txBody>
          <a:bodyPr/>
          <a:lstStyle/>
          <a:p>
            <a:r>
              <a:rPr lang="de-DE" dirty="0" smtClean="0"/>
              <a:t>Kot </a:t>
            </a:r>
            <a:r>
              <a:rPr lang="de-DE" dirty="0" err="1" smtClean="0"/>
              <a:t>też</a:t>
            </a:r>
            <a:r>
              <a:rPr lang="de-DE" dirty="0" smtClean="0"/>
              <a:t> </a:t>
            </a:r>
            <a:r>
              <a:rPr lang="de-DE" dirty="0" err="1" smtClean="0"/>
              <a:t>może</a:t>
            </a:r>
            <a:r>
              <a:rPr lang="de-DE" dirty="0" smtClean="0"/>
              <a:t>?</a:t>
            </a:r>
            <a:endParaRPr lang="pl-PL" dirty="0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body" sz="half" idx="1"/>
          </p:nvPr>
        </p:nvSpPr>
        <p:spPr>
          <a:xfrm rot="683115">
            <a:off x="546480" y="3061528"/>
            <a:ext cx="8825971" cy="1468438"/>
          </a:xfrm>
        </p:spPr>
        <p:txBody>
          <a:bodyPr>
            <a:noAutofit/>
          </a:bodyPr>
          <a:lstStyle/>
          <a:p>
            <a:pPr algn="ctr"/>
            <a:r>
              <a:rPr lang="de-DE" sz="8000" dirty="0" smtClean="0"/>
              <a:t>PEWNO!!!  </a:t>
            </a:r>
            <a:r>
              <a:rPr lang="de-DE" sz="8000" dirty="0" smtClean="0">
                <a:sym typeface="Wingdings" pitchFamily="2" charset="2"/>
              </a:rPr>
              <a:t></a:t>
            </a:r>
            <a:endParaRPr lang="pl-PL" sz="8000" dirty="0"/>
          </a:p>
        </p:txBody>
      </p:sp>
      <p:sp>
        <p:nvSpPr>
          <p:cNvPr id="6" name="TextBox 5"/>
          <p:cNvSpPr txBox="1"/>
          <p:nvPr/>
        </p:nvSpPr>
        <p:spPr>
          <a:xfrm>
            <a:off x="2835859" y="5557839"/>
            <a:ext cx="4565481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3200" dirty="0" smtClean="0">
                <a:solidFill>
                  <a:srgbClr val="FF0000"/>
                </a:solidFill>
                <a:sym typeface="Wingdings" pitchFamily="2" charset="2"/>
              </a:rPr>
              <a:t> </a:t>
            </a:r>
            <a:r>
              <a:rPr lang="de-DE" sz="3200" dirty="0" smtClean="0">
                <a:solidFill>
                  <a:srgbClr val="FF0000"/>
                </a:solidFill>
              </a:rPr>
              <a:t>  </a:t>
            </a:r>
            <a:r>
              <a:rPr lang="de-DE" sz="3200" u="sng" dirty="0" smtClean="0">
                <a:solidFill>
                  <a:srgbClr val="FF0000"/>
                </a:solidFill>
              </a:rPr>
              <a:t>www.robocap.pl</a:t>
            </a:r>
            <a:r>
              <a:rPr lang="de-DE" sz="3200" dirty="0" smtClean="0">
                <a:solidFill>
                  <a:srgbClr val="FF0000"/>
                </a:solidFill>
              </a:rPr>
              <a:t>  </a:t>
            </a:r>
            <a:r>
              <a:rPr lang="de-DE" sz="3200" dirty="0" smtClean="0">
                <a:solidFill>
                  <a:srgbClr val="FF0000"/>
                </a:solidFill>
                <a:sym typeface="Wingdings" pitchFamily="2" charset="2"/>
              </a:rPr>
              <a:t></a:t>
            </a:r>
            <a:endParaRPr lang="en-US" sz="3200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4</Words>
  <Application>Microsoft Office PowerPoint</Application>
  <PresentationFormat>A4 Paper (210x297 mm)</PresentationFormat>
  <Paragraphs>31</Paragraphs>
  <Slides>6</Slides>
  <Notes>5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Blank</vt:lpstr>
      <vt:lpstr>think-cell Slide</vt:lpstr>
      <vt:lpstr>Z czym to się je?</vt:lpstr>
      <vt:lpstr>Założenia</vt:lpstr>
      <vt:lpstr>Co i gdzie robimy</vt:lpstr>
      <vt:lpstr>Współpraca </vt:lpstr>
      <vt:lpstr>Co z tego mamy?</vt:lpstr>
      <vt:lpstr>Kot też może?</vt:lpstr>
      <vt:lpstr>Custom Show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psmyk</cp:lastModifiedBy>
  <cp:revision>222</cp:revision>
  <dcterms:created xsi:type="dcterms:W3CDTF">2014-10-21T19:55:20Z</dcterms:created>
  <dcterms:modified xsi:type="dcterms:W3CDTF">2016-06-30T11:50:50Z</dcterms:modified>
</cp:coreProperties>
</file>